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3375" r:id="rId2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1" autoAdjust="0"/>
    <p:restoredTop sz="94660"/>
  </p:normalViewPr>
  <p:slideViewPr>
    <p:cSldViewPr snapToGrid="0">
      <p:cViewPr varScale="1">
        <p:scale>
          <a:sx n="98" d="100"/>
          <a:sy n="98" d="100"/>
        </p:scale>
        <p:origin x="110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18415F-BD37-1FC6-C71E-1E16BC4DA4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07C88D8-CABE-A385-640C-F2AE426A4E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ABB8DB4-AA09-9DF3-24F7-25830CD588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16.01.2025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542F360-24BA-9176-F300-88C480666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468BDD5-B160-CA87-7583-2CB7AD3392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7954541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70020-F13E-69C1-19E2-97FAAB9F0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96ED752B-89F6-A86E-6B98-743E837F2C6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099BC4-4EC9-80F6-874A-83D028367C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16.01.2025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C9CA04-07C3-1D50-190F-B4A57FA827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00A05FC-930E-C985-F321-62A07C763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8441670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33C45158-54F5-F999-3C54-7B09CC301EC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A628183-52D6-3C65-EB27-EE09B5E32D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B15CBFF-B1AD-84D5-057B-E9A55DCBCB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16.01.2025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59CEAEC-00BB-3CEA-73D6-D8753D6043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B0FCB59-901D-D02C-C984-E6C8C500E2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6081568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3_Themenfort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06452" y="1444639"/>
            <a:ext cx="10551581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17032" y="2682875"/>
            <a:ext cx="10562168" cy="3420000"/>
          </a:xfrm>
          <a:prstGeom prst="rect">
            <a:avLst/>
          </a:prstGeom>
        </p:spPr>
        <p:txBody>
          <a:bodyPr vert="horz" lIns="0" tIns="0" rIns="0" bIns="0" numCol="1" spcCol="360000" anchor="t" anchorCtr="0"/>
          <a:lstStyle>
            <a:lvl1pPr marL="285722" marR="0" indent="-285722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377A"/>
              </a:buClr>
              <a:buSzPct val="150000"/>
              <a:buFont typeface="Symbol" charset="2"/>
              <a:buChar char="-"/>
              <a:tabLst/>
              <a:defRPr sz="1801" b="1" i="0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76" indent="-285722">
              <a:buClr>
                <a:srgbClr val="00377A"/>
              </a:buClr>
              <a:buSzPct val="150000"/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2pPr>
            <a:lvl3pPr marL="1142887" indent="-228578"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3pPr>
            <a:lvl4pPr marL="1600041" indent="-228578">
              <a:buClr>
                <a:srgbClr val="00377A"/>
              </a:buClr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4pPr>
            <a:lvl5pPr marL="2057195" indent="-228578">
              <a:buFont typeface="Arial" charset="0"/>
              <a:buChar char="•"/>
              <a:defRPr sz="1300" baseline="0">
                <a:solidFill>
                  <a:srgbClr val="00377A"/>
                </a:solidFill>
                <a:latin typeface="Arial" charset="0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Ebene 2</a:t>
            </a:r>
          </a:p>
          <a:p>
            <a:pPr lvl="2"/>
            <a:r>
              <a:rPr lang="de-AT" dirty="0"/>
              <a:t>Ebene 3</a:t>
            </a:r>
          </a:p>
          <a:p>
            <a:pPr lvl="3"/>
            <a:r>
              <a:rPr lang="de-AT" dirty="0"/>
              <a:t>Ebene 4</a:t>
            </a:r>
          </a:p>
        </p:txBody>
      </p:sp>
    </p:spTree>
    <p:extLst>
      <p:ext uri="{BB962C8B-B14F-4D97-AF65-F5344CB8AC3E}">
        <p14:creationId xmlns:p14="http://schemas.microsoft.com/office/powerpoint/2010/main" val="1259039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9B2845D-3162-244D-92EA-4AA02BD3D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210ACC6-F36B-72E5-D77E-5526B1903E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F8BD374-3DE9-B13F-4AEB-C5DFF1DAD9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16.01.2025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5ED6657-6BA1-7456-18D0-041573426B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26088C9-0951-9ACA-9D33-9035D2CBE1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0390362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B2715A-8C09-3703-A3D7-CCEFCDDC71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50A99FE-8E4E-AEAA-03EC-6E082E7C11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EBDB431-9681-C90F-C47E-840F72D92A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16.01.2025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CF09080-B327-789B-9ACD-24AD8BB85B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E3797E1-E4F7-3ABD-AEBF-29FFBBAC65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8223793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685287-C14F-A5A3-74E7-3A51347DAA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54834E2-874E-092A-511F-154E338534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D3153CB-3267-D783-AFC6-56A2105B58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4CEE9A54-26BF-B98A-308B-0D18580A4E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16.01.2025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353229E-DA13-76E1-EF5E-3298C62CCB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8191667-07F3-3256-14B2-ED585C3C15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5505478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F02F332-4E2E-5421-81A9-D04E73DA9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7373C0C-E6D4-AD91-CA9E-3C4F5C0F4B8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D18D250-D8A4-8A64-EA61-896AD9EE67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7D3DD26-2129-3267-BC87-CC1D2436BF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B3AFE1A6-88CE-2BEA-58A1-5439B7A8E9E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62A61994-4871-D54A-B7EA-D0264F267F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16.01.2025</a:t>
            </a:fld>
            <a:endParaRPr lang="de-AT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7D313A5-E19F-182D-9173-A2A1670AE4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3876108-2BD7-7BDC-010C-0E2B82E740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0442314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BD30A33-4968-BBB1-28A0-1516F5DD1B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5213A1F-7823-1BED-8D92-B4DF73EB6D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16.01.2025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8F54BDF-F7E7-786B-F241-F81C61F9C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A6D002F-5D56-7F98-9489-1F69B9F2C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6426579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AFC5A33-71C0-0353-F7FC-FBCF1220FE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16.01.2025</a:t>
            </a:fld>
            <a:endParaRPr lang="de-AT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86F7FB1-617A-E3AC-3FB3-E8147BAE9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AAD149D-126F-17BC-201F-15394975D3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9446259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6C2D20-0F5F-B50C-AF57-9553E1036D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EB97D99-DAFC-A9BB-4449-3E7306D3FB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FEA2354-C111-4806-FD69-D87A169B0A4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076426B-8974-15A7-EEE6-34FC2DF24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16.01.2025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A44D0B2-C1C4-0CAB-3602-772134D5A7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629D737-12C9-CF2D-117D-FA7D4804D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3321932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7E7B8-4249-B1CF-91F4-5A6092FE14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39884AA-DBB4-6DFB-CF71-673F92767E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AT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2FF6A4C-C723-92B1-6C9E-2998E24C4B9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B9DCEB31-45E2-FFB6-FA8E-219EF198F0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968C3-1197-48F5-9E21-10196FE9EE3E}" type="datetimeFigureOut">
              <a:rPr lang="de-AT" smtClean="0"/>
              <a:t>16.01.2025</a:t>
            </a:fld>
            <a:endParaRPr lang="de-AT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A2F7356E-320B-349E-D739-B14B2116B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1B0741-8060-3BA9-B2FE-C880D642B3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2227469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741C98D-1303-B8BB-DDE5-D4D71C87D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AT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AF95101-33D9-8B4F-B7AA-5DB97878D9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037D218-46F1-AB62-813E-3414880AE9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0968C3-1197-48F5-9E21-10196FE9EE3E}" type="datetimeFigureOut">
              <a:rPr lang="de-AT" smtClean="0"/>
              <a:t>16.01.2025</a:t>
            </a:fld>
            <a:endParaRPr lang="de-AT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F88A3F3-BFE8-D52D-3B29-A3FD020AF7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AT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A7AFC5E-5EB9-0D9D-5B8B-0CD9AB50A2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A5FF59-7A48-497F-9426-17B875FCED10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854858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B09723A-D257-49E8-9715-2D463EEE5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B09723A-D257-49E8-9715-2D463EEE5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F97EF403-92B7-4112-AF68-89E049B0CA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e-AT" sz="2800" dirty="0">
              <a:solidFill>
                <a:prstClr val="white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746867" y="1618180"/>
            <a:ext cx="10813037" cy="746066"/>
          </a:xfrm>
        </p:spPr>
        <p:txBody>
          <a:bodyPr anchor="t">
            <a:normAutofit fontScale="40000" lnSpcReduction="20000"/>
          </a:bodyPr>
          <a:lstStyle/>
          <a:p>
            <a:br>
              <a:rPr lang="de-AT" sz="2900" dirty="0">
                <a:solidFill>
                  <a:srgbClr val="00A5EF"/>
                </a:solidFill>
                <a:latin typeface="Arial Black" panose="020B0A04020102020204" pitchFamily="34" charset="0"/>
              </a:rPr>
            </a:br>
            <a:r>
              <a:rPr lang="de-AT" sz="4400" dirty="0">
                <a:solidFill>
                  <a:srgbClr val="00A5EF"/>
                </a:solidFill>
                <a:latin typeface="Arial Black" panose="020B0A04020102020204" pitchFamily="34" charset="0"/>
              </a:rPr>
              <a:t>Expert*innen-JURY</a:t>
            </a:r>
            <a:br>
              <a:rPr lang="de-AT" sz="2900" dirty="0">
                <a:solidFill>
                  <a:srgbClr val="00A5EF"/>
                </a:solidFill>
                <a:latin typeface="Arial Black" panose="020B0A04020102020204" pitchFamily="34" charset="0"/>
              </a:rPr>
            </a:br>
            <a:br>
              <a:rPr lang="de-AT" sz="2900" dirty="0">
                <a:solidFill>
                  <a:srgbClr val="00A5EF"/>
                </a:solidFill>
                <a:latin typeface="Arial Black" panose="020B0A04020102020204" pitchFamily="34" charset="0"/>
              </a:rPr>
            </a:br>
            <a:r>
              <a:rPr lang="de-AT" sz="1500" b="0" dirty="0">
                <a:solidFill>
                  <a:srgbClr val="00A5E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 in alphabethischer Reihenfolge)</a:t>
            </a:r>
          </a:p>
          <a:p>
            <a:r>
              <a:rPr lang="de-AT" sz="1700" dirty="0">
                <a:solidFill>
                  <a:srgbClr val="00A5EF"/>
                </a:solidFill>
                <a:latin typeface="Arial Black" panose="020B0A04020102020204" pitchFamily="34" charset="0"/>
              </a:rPr>
              <a:t>			</a:t>
            </a:r>
            <a:endParaRPr lang="de-AT" sz="1400" dirty="0">
              <a:solidFill>
                <a:srgbClr val="00A5EF"/>
              </a:solidFill>
              <a:latin typeface="Arial Black" panose="020B0A04020102020204" pitchFamily="34" charset="0"/>
            </a:endParaRPr>
          </a:p>
          <a:p>
            <a:endParaRPr lang="de-AT" sz="1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E4E540-1D0D-9F0D-998B-68D30BC709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6867" y="575144"/>
            <a:ext cx="2514039" cy="900000"/>
          </a:xfrm>
          <a:prstGeom prst="rect">
            <a:avLst/>
          </a:prstGeom>
        </p:spPr>
      </p:pic>
      <p:sp>
        <p:nvSpPr>
          <p:cNvPr id="5" name="Textplatzhalter 17">
            <a:extLst>
              <a:ext uri="{FF2B5EF4-FFF2-40B4-BE49-F238E27FC236}">
                <a16:creationId xmlns:a16="http://schemas.microsoft.com/office/drawing/2014/main" id="{86C9B258-05AD-32D0-01AD-100635D1624A}"/>
              </a:ext>
            </a:extLst>
          </p:cNvPr>
          <p:cNvSpPr txBox="1">
            <a:spLocks/>
          </p:cNvSpPr>
          <p:nvPr/>
        </p:nvSpPr>
        <p:spPr>
          <a:xfrm>
            <a:off x="886085" y="4963261"/>
            <a:ext cx="10551581" cy="55670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 algn="l" defTabSz="457154" rtl="0" eaLnBrk="1" latinLnBrk="0" hangingPunct="1">
              <a:spcBef>
                <a:spcPct val="20000"/>
              </a:spcBef>
              <a:buFontTx/>
              <a:buNone/>
              <a:defRPr sz="2400" b="1" kern="1200">
                <a:solidFill>
                  <a:srgbClr val="00377A"/>
                </a:solidFill>
                <a:latin typeface="Arial"/>
                <a:ea typeface="+mn-ea"/>
                <a:cs typeface="Arial"/>
              </a:defRPr>
            </a:lvl1pPr>
            <a:lvl2pPr marL="742876" indent="-285722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887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041" indent="-228578" algn="l" defTabSz="457154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95" indent="-228578" algn="l" defTabSz="457154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50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8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5" indent="-228578" algn="l" defTabSz="457154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AT" sz="1600" b="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hteck: abgerundete Ecken 5">
            <a:extLst>
              <a:ext uri="{FF2B5EF4-FFF2-40B4-BE49-F238E27FC236}">
                <a16:creationId xmlns:a16="http://schemas.microsoft.com/office/drawing/2014/main" id="{72D0FAF5-2725-956E-D49D-7BDB7862AF51}"/>
              </a:ext>
            </a:extLst>
          </p:cNvPr>
          <p:cNvSpPr/>
          <p:nvPr/>
        </p:nvSpPr>
        <p:spPr>
          <a:xfrm>
            <a:off x="6111631" y="2460494"/>
            <a:ext cx="2555792" cy="1072998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Marianne </a:t>
            </a:r>
            <a:r>
              <a:rPr lang="de-DE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Penker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 (A)</a:t>
            </a:r>
          </a:p>
          <a:p>
            <a:pPr algn="ctr"/>
            <a:r>
              <a:rPr lang="de-DE" sz="1000" dirty="0" err="1">
                <a:latin typeface="Arial" panose="020B0604020202020204" pitchFamily="34" charset="0"/>
                <a:cs typeface="Arial" panose="020B0604020202020204" pitchFamily="34" charset="0"/>
              </a:rPr>
              <a:t>Stv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. Institutsleitung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Nachhaltige Wirtschaftsentwicklung, BOKU Wien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0E4986AB-5C67-1872-184D-E5652BAB99B3}"/>
              </a:ext>
            </a:extLst>
          </p:cNvPr>
          <p:cNvSpPr/>
          <p:nvPr/>
        </p:nvSpPr>
        <p:spPr>
          <a:xfrm>
            <a:off x="664284" y="2460494"/>
            <a:ext cx="2571424" cy="1072999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Hendrik Haase (D)</a:t>
            </a:r>
          </a:p>
          <a:p>
            <a:pPr algn="ctr"/>
            <a:r>
              <a:rPr lang="de-AT" sz="1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xperte für nachhaltige Ernährung, regionale Lebensmittelkultur &amp; Zukunftstrends</a:t>
            </a:r>
            <a:endParaRPr lang="de-AT" sz="10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4027984E-4F57-F5BD-A159-9C782DABF997}"/>
              </a:ext>
            </a:extLst>
          </p:cNvPr>
          <p:cNvSpPr/>
          <p:nvPr/>
        </p:nvSpPr>
        <p:spPr>
          <a:xfrm>
            <a:off x="3375073" y="3588975"/>
            <a:ext cx="2596623" cy="1008161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aus Kastenhofer (A)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Experte für Nachhaltigkeit &amp; Strategieentwicklung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Gründer ‚Goalkeepers‘</a:t>
            </a:r>
          </a:p>
        </p:txBody>
      </p:sp>
      <p:sp>
        <p:nvSpPr>
          <p:cNvPr id="20" name="Rechteck: abgerundete Ecken 19">
            <a:extLst>
              <a:ext uri="{FF2B5EF4-FFF2-40B4-BE49-F238E27FC236}">
                <a16:creationId xmlns:a16="http://schemas.microsoft.com/office/drawing/2014/main" id="{DB2F16E3-E4F9-A888-AA76-A94407FBFD1D}"/>
              </a:ext>
            </a:extLst>
          </p:cNvPr>
          <p:cNvSpPr/>
          <p:nvPr/>
        </p:nvSpPr>
        <p:spPr>
          <a:xfrm>
            <a:off x="6110453" y="4661695"/>
            <a:ext cx="2556970" cy="970366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Richard </a:t>
            </a:r>
            <a:r>
              <a:rPr lang="de-DE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Petrasek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 (A)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Nachhaltigkeitsexperte,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FIBL Österreich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9C88E898-78AD-C6B9-CC6C-0013DAB93DFE}"/>
              </a:ext>
            </a:extLst>
          </p:cNvPr>
          <p:cNvSpPr/>
          <p:nvPr/>
        </p:nvSpPr>
        <p:spPr>
          <a:xfrm>
            <a:off x="6110453" y="3582189"/>
            <a:ext cx="2556970" cy="1014948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Christian Rammel (A)</a:t>
            </a:r>
          </a:p>
          <a:p>
            <a:pPr algn="ctr"/>
            <a:r>
              <a:rPr lang="de-AT" sz="1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eitung Regional </a:t>
            </a:r>
            <a:r>
              <a:rPr lang="de-AT" sz="10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entre</a:t>
            </a:r>
            <a:r>
              <a:rPr lang="de-AT" sz="1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AT" sz="10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of</a:t>
            </a:r>
            <a:r>
              <a:rPr lang="de-AT" sz="1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xpertise on Education for </a:t>
            </a:r>
            <a:r>
              <a:rPr lang="de-AT" sz="10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ustainable</a:t>
            </a:r>
            <a:r>
              <a:rPr lang="de-AT" sz="10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evelopment (RCE Vienna), WU Wien</a:t>
            </a:r>
            <a:endParaRPr lang="de-AT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hteck: abgerundete Ecken 21">
            <a:extLst>
              <a:ext uri="{FF2B5EF4-FFF2-40B4-BE49-F238E27FC236}">
                <a16:creationId xmlns:a16="http://schemas.microsoft.com/office/drawing/2014/main" id="{F8A5C10F-390F-FF16-025A-F265FD0B4F1A}"/>
              </a:ext>
            </a:extLst>
          </p:cNvPr>
          <p:cNvSpPr/>
          <p:nvPr/>
        </p:nvSpPr>
        <p:spPr>
          <a:xfrm>
            <a:off x="8810363" y="2469135"/>
            <a:ext cx="2556970" cy="1064357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Hanni Rützler(A)</a:t>
            </a:r>
          </a:p>
          <a:p>
            <a:pPr algn="ctr"/>
            <a:r>
              <a:rPr lang="de-DE" sz="1000" dirty="0" err="1">
                <a:latin typeface="Arial" panose="020B0604020202020204" pitchFamily="34" charset="0"/>
                <a:cs typeface="Arial" panose="020B0604020202020204" pitchFamily="34" charset="0"/>
              </a:rPr>
              <a:t>Foodtrend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-Expertin,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Herausgeberin ‚Food Report‘,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Gründerin ‚</a:t>
            </a:r>
            <a:r>
              <a:rPr lang="de-DE" sz="1000" dirty="0" err="1">
                <a:latin typeface="Arial" panose="020B0604020202020204" pitchFamily="34" charset="0"/>
                <a:cs typeface="Arial" panose="020B0604020202020204" pitchFamily="34" charset="0"/>
              </a:rPr>
              <a:t>Futurefoodstudio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‘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hteck: abgerundete Ecken 22">
            <a:extLst>
              <a:ext uri="{FF2B5EF4-FFF2-40B4-BE49-F238E27FC236}">
                <a16:creationId xmlns:a16="http://schemas.microsoft.com/office/drawing/2014/main" id="{4BF7FF53-9D3F-4405-C2AC-D48BD6DA1898}"/>
              </a:ext>
            </a:extLst>
          </p:cNvPr>
          <p:cNvSpPr/>
          <p:nvPr/>
        </p:nvSpPr>
        <p:spPr>
          <a:xfrm>
            <a:off x="3375073" y="2469135"/>
            <a:ext cx="2596623" cy="1064357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Tilo Hühn (CH)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Zentrumsleitung Lebensmittelkomposition und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-prozessdesign ZHAW</a:t>
            </a:r>
          </a:p>
        </p:txBody>
      </p:sp>
      <p:sp>
        <p:nvSpPr>
          <p:cNvPr id="24" name="Rechteck: abgerundete Ecken 23">
            <a:extLst>
              <a:ext uri="{FF2B5EF4-FFF2-40B4-BE49-F238E27FC236}">
                <a16:creationId xmlns:a16="http://schemas.microsoft.com/office/drawing/2014/main" id="{ADC4085C-A2F5-1CE5-FF58-D018BDB9E2E6}"/>
              </a:ext>
            </a:extLst>
          </p:cNvPr>
          <p:cNvSpPr/>
          <p:nvPr/>
        </p:nvSpPr>
        <p:spPr>
          <a:xfrm>
            <a:off x="3385152" y="4643973"/>
            <a:ext cx="2579095" cy="970366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Hannes Leo (A)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Innovationsexperte, 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Mitgründer von ‚</a:t>
            </a:r>
            <a:r>
              <a:rPr lang="de-DE" sz="1000" dirty="0" err="1">
                <a:latin typeface="Arial" panose="020B0604020202020204" pitchFamily="34" charset="0"/>
                <a:cs typeface="Arial" panose="020B0604020202020204" pitchFamily="34" charset="0"/>
              </a:rPr>
              <a:t>cbased</a:t>
            </a:r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‘ 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hteck: abgerundete Ecken 24">
            <a:extLst>
              <a:ext uri="{FF2B5EF4-FFF2-40B4-BE49-F238E27FC236}">
                <a16:creationId xmlns:a16="http://schemas.microsoft.com/office/drawing/2014/main" id="{5C5BCDF7-ADE3-1E1D-0F37-5A98803D1CEE}"/>
              </a:ext>
            </a:extLst>
          </p:cNvPr>
          <p:cNvSpPr/>
          <p:nvPr/>
        </p:nvSpPr>
        <p:spPr>
          <a:xfrm>
            <a:off x="664283" y="4645833"/>
            <a:ext cx="2571425" cy="968506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Gisela Hühn (CH)</a:t>
            </a:r>
          </a:p>
          <a:p>
            <a:pPr algn="ctr"/>
            <a:r>
              <a:rPr lang="de-DE" sz="1000" dirty="0">
                <a:latin typeface="Arial" panose="020B0604020202020204" pitchFamily="34" charset="0"/>
                <a:cs typeface="Arial" panose="020B0604020202020204" pitchFamily="34" charset="0"/>
              </a:rPr>
              <a:t>Wissenschaftliche Mitarbeiterin ZHAW Forschungsgruppe für Lebensmittel-Prozessentwicklung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hteck: abgerundete Ecken 25">
            <a:extLst>
              <a:ext uri="{FF2B5EF4-FFF2-40B4-BE49-F238E27FC236}">
                <a16:creationId xmlns:a16="http://schemas.microsoft.com/office/drawing/2014/main" id="{15FF5286-2D07-1A34-6E1C-CC3B938FAD09}"/>
              </a:ext>
            </a:extLst>
          </p:cNvPr>
          <p:cNvSpPr/>
          <p:nvPr/>
        </p:nvSpPr>
        <p:spPr>
          <a:xfrm>
            <a:off x="8810362" y="3582189"/>
            <a:ext cx="2556970" cy="1008026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ristine Vallaster (A) </a:t>
            </a:r>
          </a:p>
          <a:p>
            <a:pPr algn="ctr"/>
            <a:r>
              <a:rPr lang="de-DE" sz="10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eislaufwirtschaftsexpertin Universitätsprofessorin Paris Lodron</a:t>
            </a:r>
          </a:p>
          <a:p>
            <a:pPr algn="ctr"/>
            <a:r>
              <a:rPr lang="de-DE" sz="100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ät </a:t>
            </a:r>
            <a:r>
              <a:rPr lang="de-DE" sz="10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zburg; </a:t>
            </a:r>
          </a:p>
          <a:p>
            <a:pPr algn="ctr"/>
            <a:r>
              <a:rPr lang="de-DE" sz="1000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riebswirtschaftslehre / Marketing; </a:t>
            </a:r>
            <a:endParaRPr lang="de-AT" sz="1000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7C74B7D9-B915-8196-512A-9C29820A42BF}"/>
              </a:ext>
            </a:extLst>
          </p:cNvPr>
          <p:cNvSpPr/>
          <p:nvPr/>
        </p:nvSpPr>
        <p:spPr>
          <a:xfrm>
            <a:off x="6161875" y="5989245"/>
            <a:ext cx="5211724" cy="556703"/>
          </a:xfrm>
          <a:prstGeom prst="roundRect">
            <a:avLst/>
          </a:prstGeom>
          <a:ln w="19050">
            <a:solidFill>
              <a:srgbClr val="00B0F0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200" b="1" dirty="0" err="1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rypool</a:t>
            </a:r>
            <a:r>
              <a:rPr lang="de-DE" sz="12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wird ggf. noch ergänzt</a:t>
            </a:r>
            <a:endParaRPr lang="de-AT" sz="12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hteck: abgerundete Ecken 2">
            <a:extLst>
              <a:ext uri="{FF2B5EF4-FFF2-40B4-BE49-F238E27FC236}">
                <a16:creationId xmlns:a16="http://schemas.microsoft.com/office/drawing/2014/main" id="{23B32784-D518-B9AD-453F-D179B359E9C8}"/>
              </a:ext>
            </a:extLst>
          </p:cNvPr>
          <p:cNvSpPr/>
          <p:nvPr/>
        </p:nvSpPr>
        <p:spPr>
          <a:xfrm>
            <a:off x="671181" y="3588975"/>
            <a:ext cx="2581807" cy="1008161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Theresa </a:t>
            </a:r>
            <a:r>
              <a:rPr lang="de-DE" sz="1200" b="1" dirty="0" err="1">
                <a:latin typeface="Arial" panose="020B0604020202020204" pitchFamily="34" charset="0"/>
                <a:cs typeface="Arial" panose="020B0604020202020204" pitchFamily="34" charset="0"/>
              </a:rPr>
              <a:t>Hingsammer</a:t>
            </a:r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 (D)</a:t>
            </a:r>
          </a:p>
          <a:p>
            <a:pPr algn="ctr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Head of Food Campus Digital </a:t>
            </a:r>
          </a:p>
          <a:p>
            <a:pPr algn="ctr"/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@Food Campus Berlin,</a:t>
            </a:r>
          </a:p>
          <a:p>
            <a:pPr algn="ctr"/>
            <a:r>
              <a:rPr lang="en-US" sz="1000" dirty="0" err="1">
                <a:latin typeface="Arial" panose="020B0604020202020204" pitchFamily="34" charset="0"/>
                <a:cs typeface="Arial" panose="020B0604020202020204" pitchFamily="34" charset="0"/>
              </a:rPr>
              <a:t>Artprojekt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 Nature and Nutrition GmbH</a:t>
            </a:r>
            <a:endParaRPr lang="de-AT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hteck: abgerundete Ecken 9">
            <a:extLst>
              <a:ext uri="{FF2B5EF4-FFF2-40B4-BE49-F238E27FC236}">
                <a16:creationId xmlns:a16="http://schemas.microsoft.com/office/drawing/2014/main" id="{CBD4229B-ABA9-06CA-E959-8262804B0EBD}"/>
              </a:ext>
            </a:extLst>
          </p:cNvPr>
          <p:cNvSpPr/>
          <p:nvPr/>
        </p:nvSpPr>
        <p:spPr>
          <a:xfrm>
            <a:off x="8816867" y="4661695"/>
            <a:ext cx="2550465" cy="954627"/>
          </a:xfrm>
          <a:prstGeom prst="roundRect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Susann Vierbauch (D)</a:t>
            </a:r>
          </a:p>
          <a:p>
            <a:pPr algn="ctr" fontAlgn="auto"/>
            <a:r>
              <a:rPr lang="de-AT" sz="1000" dirty="0">
                <a:latin typeface="Arial" panose="020B0604020202020204" pitchFamily="34" charset="0"/>
                <a:cs typeface="Arial" panose="020B0604020202020204" pitchFamily="34" charset="0"/>
              </a:rPr>
              <a:t>Wissenschaftliche Referentin</a:t>
            </a:r>
          </a:p>
          <a:p>
            <a:pPr algn="ctr"/>
            <a:r>
              <a:rPr lang="de-AT" sz="1000" dirty="0">
                <a:latin typeface="Arial" panose="020B0604020202020204" pitchFamily="34" charset="0"/>
                <a:cs typeface="Arial" panose="020B0604020202020204" pitchFamily="34" charset="0"/>
              </a:rPr>
              <a:t>Fraunhofer Institute </a:t>
            </a:r>
            <a:r>
              <a:rPr lang="de-AT" sz="1000" dirty="0" err="1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AT" sz="1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AT" sz="1000" dirty="0" err="1">
                <a:latin typeface="Arial" panose="020B0604020202020204" pitchFamily="34" charset="0"/>
                <a:cs typeface="Arial" panose="020B0604020202020204" pitchFamily="34" charset="0"/>
              </a:rPr>
              <a:t>Process</a:t>
            </a:r>
            <a:r>
              <a:rPr lang="de-AT" sz="1000" dirty="0">
                <a:latin typeface="Arial" panose="020B0604020202020204" pitchFamily="34" charset="0"/>
                <a:cs typeface="Arial" panose="020B0604020202020204" pitchFamily="34" charset="0"/>
              </a:rPr>
              <a:t> Engineering and </a:t>
            </a:r>
            <a:r>
              <a:rPr lang="de-AT" sz="1000" dirty="0" err="1">
                <a:latin typeface="Arial" panose="020B0604020202020204" pitchFamily="34" charset="0"/>
                <a:cs typeface="Arial" panose="020B0604020202020204" pitchFamily="34" charset="0"/>
              </a:rPr>
              <a:t>Packaging</a:t>
            </a:r>
            <a:r>
              <a:rPr lang="de-AT" sz="1000" dirty="0">
                <a:latin typeface="Arial" panose="020B0604020202020204" pitchFamily="34" charset="0"/>
                <a:cs typeface="Arial" panose="020B0604020202020204" pitchFamily="34" charset="0"/>
              </a:rPr>
              <a:t> IVV </a:t>
            </a:r>
          </a:p>
        </p:txBody>
      </p:sp>
    </p:spTree>
    <p:extLst>
      <p:ext uri="{BB962C8B-B14F-4D97-AF65-F5344CB8AC3E}">
        <p14:creationId xmlns:p14="http://schemas.microsoft.com/office/powerpoint/2010/main" val="5626252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1gbNUM..QLLwUBe9efPw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2</Words>
  <Application>Microsoft Office PowerPoint</Application>
  <PresentationFormat>Breitbild</PresentationFormat>
  <Paragraphs>39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Arial Black</vt:lpstr>
      <vt:lpstr>Calibri</vt:lpstr>
      <vt:lpstr>Calibri Light</vt:lpstr>
      <vt:lpstr>Symbol</vt:lpstr>
      <vt:lpstr>Office</vt:lpstr>
      <vt:lpstr>think-cell Foli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RNTL Kerstin</dc:creator>
  <cp:lastModifiedBy>DERNTL Kerstin</cp:lastModifiedBy>
  <cp:revision>8</cp:revision>
  <dcterms:created xsi:type="dcterms:W3CDTF">2023-08-28T09:41:13Z</dcterms:created>
  <dcterms:modified xsi:type="dcterms:W3CDTF">2025-01-16T09:22:18Z</dcterms:modified>
</cp:coreProperties>
</file>